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A4C251F-DA1C-4F4A-8C3A-04ADC94E3A2F}" v="74" dt="2023-03-05T22:48:31.1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02" d="100"/>
          <a:sy n="102" d="100"/>
        </p:scale>
        <p:origin x="138" y="672"/>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7A4C251F-DA1C-4F4A-8C3A-04ADC94E3A2F}"/>
    <pc:docChg chg="custSel addSld delSld modSld">
      <pc:chgData name="Roberto Gallardo" userId="49a044883f185952" providerId="LiveId" clId="{7A4C251F-DA1C-4F4A-8C3A-04ADC94E3A2F}" dt="2023-03-05T22:48:41.365" v="414" actId="1076"/>
      <pc:docMkLst>
        <pc:docMk/>
      </pc:docMkLst>
      <pc:sldChg chg="del">
        <pc:chgData name="Roberto Gallardo" userId="49a044883f185952" providerId="LiveId" clId="{7A4C251F-DA1C-4F4A-8C3A-04ADC94E3A2F}" dt="2023-02-25T14:53:20.932" v="195" actId="47"/>
        <pc:sldMkLst>
          <pc:docMk/>
          <pc:sldMk cId="1175010214" sldId="261"/>
        </pc:sldMkLst>
      </pc:sldChg>
      <pc:sldChg chg="addSp delSp modSp mod">
        <pc:chgData name="Roberto Gallardo" userId="49a044883f185952" providerId="LiveId" clId="{7A4C251F-DA1C-4F4A-8C3A-04ADC94E3A2F}" dt="2023-03-05T22:42:46.106" v="224" actId="1076"/>
        <pc:sldMkLst>
          <pc:docMk/>
          <pc:sldMk cId="1418533539" sldId="271"/>
        </pc:sldMkLst>
        <pc:picChg chg="add del mod">
          <ac:chgData name="Roberto Gallardo" userId="49a044883f185952" providerId="LiveId" clId="{7A4C251F-DA1C-4F4A-8C3A-04ADC94E3A2F}" dt="2023-03-05T14:13:35.738" v="196" actId="478"/>
          <ac:picMkLst>
            <pc:docMk/>
            <pc:sldMk cId="1418533539" sldId="271"/>
            <ac:picMk id="6" creationId="{6136C0B8-346A-9C5F-BD3E-92558F2D86EB}"/>
          </ac:picMkLst>
        </pc:picChg>
        <pc:picChg chg="add mod">
          <ac:chgData name="Roberto Gallardo" userId="49a044883f185952" providerId="LiveId" clId="{7A4C251F-DA1C-4F4A-8C3A-04ADC94E3A2F}" dt="2023-03-05T22:42:46.106" v="224" actId="1076"/>
          <ac:picMkLst>
            <pc:docMk/>
            <pc:sldMk cId="1418533539" sldId="271"/>
            <ac:picMk id="6" creationId="{65DAA762-3E1D-E9DA-F558-B604D56D9D90}"/>
          </ac:picMkLst>
        </pc:picChg>
      </pc:sldChg>
      <pc:sldChg chg="addSp delSp modSp mod">
        <pc:chgData name="Roberto Gallardo" userId="49a044883f185952" providerId="LiveId" clId="{7A4C251F-DA1C-4F4A-8C3A-04ADC94E3A2F}" dt="2023-03-05T22:45:07.693" v="289" actId="1076"/>
        <pc:sldMkLst>
          <pc:docMk/>
          <pc:sldMk cId="2124848710" sldId="281"/>
        </pc:sldMkLst>
        <pc:picChg chg="add mod">
          <ac:chgData name="Roberto Gallardo" userId="49a044883f185952" providerId="LiveId" clId="{7A4C251F-DA1C-4F4A-8C3A-04ADC94E3A2F}" dt="2023-03-05T22:45:07.693" v="289" actId="1076"/>
          <ac:picMkLst>
            <pc:docMk/>
            <pc:sldMk cId="2124848710" sldId="281"/>
            <ac:picMk id="6" creationId="{D7A7B661-F773-58DF-8307-3E7E0EA069C5}"/>
          </ac:picMkLst>
        </pc:picChg>
        <pc:picChg chg="add del mod">
          <ac:chgData name="Roberto Gallardo" userId="49a044883f185952" providerId="LiveId" clId="{7A4C251F-DA1C-4F4A-8C3A-04ADC94E3A2F}" dt="2023-03-05T14:13:52.887" v="203" actId="478"/>
          <ac:picMkLst>
            <pc:docMk/>
            <pc:sldMk cId="2124848710" sldId="281"/>
            <ac:picMk id="8" creationId="{40E65E1C-67D5-4174-644E-D42667EF76F3}"/>
          </ac:picMkLst>
        </pc:picChg>
      </pc:sldChg>
      <pc:sldChg chg="addSp delSp modSp mod">
        <pc:chgData name="Roberto Gallardo" userId="49a044883f185952" providerId="LiveId" clId="{7A4C251F-DA1C-4F4A-8C3A-04ADC94E3A2F}" dt="2023-03-05T22:45:26.333" v="299" actId="1076"/>
        <pc:sldMkLst>
          <pc:docMk/>
          <pc:sldMk cId="2028175529" sldId="282"/>
        </pc:sldMkLst>
        <pc:picChg chg="add mod">
          <ac:chgData name="Roberto Gallardo" userId="49a044883f185952" providerId="LiveId" clId="{7A4C251F-DA1C-4F4A-8C3A-04ADC94E3A2F}" dt="2023-03-05T22:45:26.333" v="299" actId="1076"/>
          <ac:picMkLst>
            <pc:docMk/>
            <pc:sldMk cId="2028175529" sldId="282"/>
            <ac:picMk id="7" creationId="{FB047ECB-B710-6F61-4687-D76E5894DD71}"/>
          </ac:picMkLst>
        </pc:picChg>
        <pc:picChg chg="add del mod">
          <ac:chgData name="Roberto Gallardo" userId="49a044883f185952" providerId="LiveId" clId="{7A4C251F-DA1C-4F4A-8C3A-04ADC94E3A2F}" dt="2023-03-05T14:13:54.312" v="204" actId="478"/>
          <ac:picMkLst>
            <pc:docMk/>
            <pc:sldMk cId="2028175529" sldId="282"/>
            <ac:picMk id="8" creationId="{4428AE83-6919-F26A-2C12-626BABC22F7D}"/>
          </ac:picMkLst>
        </pc:picChg>
      </pc:sldChg>
      <pc:sldChg chg="addSp delSp modSp mod">
        <pc:chgData name="Roberto Gallardo" userId="49a044883f185952" providerId="LiveId" clId="{7A4C251F-DA1C-4F4A-8C3A-04ADC94E3A2F}" dt="2023-03-05T22:45:43.220" v="309" actId="1076"/>
        <pc:sldMkLst>
          <pc:docMk/>
          <pc:sldMk cId="1326517747" sldId="283"/>
        </pc:sldMkLst>
        <pc:picChg chg="add mod">
          <ac:chgData name="Roberto Gallardo" userId="49a044883f185952" providerId="LiveId" clId="{7A4C251F-DA1C-4F4A-8C3A-04ADC94E3A2F}" dt="2023-03-05T22:45:43.220" v="309" actId="1076"/>
          <ac:picMkLst>
            <pc:docMk/>
            <pc:sldMk cId="1326517747" sldId="283"/>
            <ac:picMk id="7" creationId="{B6AD8A26-B2E2-4098-4B1C-F313D090EFA8}"/>
          </ac:picMkLst>
        </pc:picChg>
        <pc:picChg chg="add del mod">
          <ac:chgData name="Roberto Gallardo" userId="49a044883f185952" providerId="LiveId" clId="{7A4C251F-DA1C-4F4A-8C3A-04ADC94E3A2F}" dt="2023-03-05T14:13:56.111" v="205" actId="478"/>
          <ac:picMkLst>
            <pc:docMk/>
            <pc:sldMk cId="1326517747" sldId="283"/>
            <ac:picMk id="8" creationId="{C79B4BEB-74D6-F7B4-0691-E9147DD900A5}"/>
          </ac:picMkLst>
        </pc:picChg>
      </pc:sldChg>
      <pc:sldChg chg="addSp delSp modSp mod">
        <pc:chgData name="Roberto Gallardo" userId="49a044883f185952" providerId="LiveId" clId="{7A4C251F-DA1C-4F4A-8C3A-04ADC94E3A2F}" dt="2023-03-05T22:46:00.762" v="322" actId="1035"/>
        <pc:sldMkLst>
          <pc:docMk/>
          <pc:sldMk cId="783739251" sldId="284"/>
        </pc:sldMkLst>
        <pc:picChg chg="add mod">
          <ac:chgData name="Roberto Gallardo" userId="49a044883f185952" providerId="LiveId" clId="{7A4C251F-DA1C-4F4A-8C3A-04ADC94E3A2F}" dt="2023-03-05T22:46:00.762" v="322" actId="1035"/>
          <ac:picMkLst>
            <pc:docMk/>
            <pc:sldMk cId="783739251" sldId="284"/>
            <ac:picMk id="7" creationId="{0FFBB3CE-CF54-EE79-392E-05D79235CC51}"/>
          </ac:picMkLst>
        </pc:picChg>
        <pc:picChg chg="add del mod">
          <ac:chgData name="Roberto Gallardo" userId="49a044883f185952" providerId="LiveId" clId="{7A4C251F-DA1C-4F4A-8C3A-04ADC94E3A2F}" dt="2023-03-05T14:13:57.543" v="207" actId="478"/>
          <ac:picMkLst>
            <pc:docMk/>
            <pc:sldMk cId="783739251" sldId="284"/>
            <ac:picMk id="8" creationId="{1B1E53D2-41C5-7341-F06E-F0F07BC818BC}"/>
          </ac:picMkLst>
        </pc:picChg>
      </pc:sldChg>
      <pc:sldChg chg="addSp delSp modSp mod">
        <pc:chgData name="Roberto Gallardo" userId="49a044883f185952" providerId="LiveId" clId="{7A4C251F-DA1C-4F4A-8C3A-04ADC94E3A2F}" dt="2023-03-05T22:46:15.832" v="329" actId="1076"/>
        <pc:sldMkLst>
          <pc:docMk/>
          <pc:sldMk cId="1676122233" sldId="285"/>
        </pc:sldMkLst>
        <pc:picChg chg="add mod">
          <ac:chgData name="Roberto Gallardo" userId="49a044883f185952" providerId="LiveId" clId="{7A4C251F-DA1C-4F4A-8C3A-04ADC94E3A2F}" dt="2023-03-05T22:46:15.832" v="329" actId="1076"/>
          <ac:picMkLst>
            <pc:docMk/>
            <pc:sldMk cId="1676122233" sldId="285"/>
            <ac:picMk id="7" creationId="{12A8BB8A-284F-4241-29DB-37D6E3845A51}"/>
          </ac:picMkLst>
        </pc:picChg>
        <pc:picChg chg="add del mod">
          <ac:chgData name="Roberto Gallardo" userId="49a044883f185952" providerId="LiveId" clId="{7A4C251F-DA1C-4F4A-8C3A-04ADC94E3A2F}" dt="2023-03-05T14:13:59.658" v="208" actId="478"/>
          <ac:picMkLst>
            <pc:docMk/>
            <pc:sldMk cId="1676122233" sldId="285"/>
            <ac:picMk id="8" creationId="{E0FBAC43-84F9-C3B5-DFB9-07C9367B77EF}"/>
          </ac:picMkLst>
        </pc:picChg>
      </pc:sldChg>
      <pc:sldChg chg="addSp delSp modSp mod">
        <pc:chgData name="Roberto Gallardo" userId="49a044883f185952" providerId="LiveId" clId="{7A4C251F-DA1C-4F4A-8C3A-04ADC94E3A2F}" dt="2023-03-05T22:46:32.033" v="338" actId="1076"/>
        <pc:sldMkLst>
          <pc:docMk/>
          <pc:sldMk cId="3100398757" sldId="286"/>
        </pc:sldMkLst>
        <pc:picChg chg="add mod">
          <ac:chgData name="Roberto Gallardo" userId="49a044883f185952" providerId="LiveId" clId="{7A4C251F-DA1C-4F4A-8C3A-04ADC94E3A2F}" dt="2023-03-05T22:46:32.033" v="338" actId="1076"/>
          <ac:picMkLst>
            <pc:docMk/>
            <pc:sldMk cId="3100398757" sldId="286"/>
            <ac:picMk id="7" creationId="{95947E38-5DDD-59EF-0714-FE294AC3FC16}"/>
          </ac:picMkLst>
        </pc:picChg>
        <pc:picChg chg="add del mod">
          <ac:chgData name="Roberto Gallardo" userId="49a044883f185952" providerId="LiveId" clId="{7A4C251F-DA1C-4F4A-8C3A-04ADC94E3A2F}" dt="2023-03-05T14:14:01.305" v="209" actId="478"/>
          <ac:picMkLst>
            <pc:docMk/>
            <pc:sldMk cId="3100398757" sldId="286"/>
            <ac:picMk id="8" creationId="{8DA29C57-5B60-BFA2-24F4-DB2C17749EAC}"/>
          </ac:picMkLst>
        </pc:picChg>
      </pc:sldChg>
      <pc:sldChg chg="addSp delSp modSp mod">
        <pc:chgData name="Roberto Gallardo" userId="49a044883f185952" providerId="LiveId" clId="{7A4C251F-DA1C-4F4A-8C3A-04ADC94E3A2F}" dt="2023-03-05T22:46:50.833" v="350" actId="1076"/>
        <pc:sldMkLst>
          <pc:docMk/>
          <pc:sldMk cId="1546475425" sldId="287"/>
        </pc:sldMkLst>
        <pc:picChg chg="add mod">
          <ac:chgData name="Roberto Gallardo" userId="49a044883f185952" providerId="LiveId" clId="{7A4C251F-DA1C-4F4A-8C3A-04ADC94E3A2F}" dt="2023-03-05T22:46:50.833" v="350" actId="1076"/>
          <ac:picMkLst>
            <pc:docMk/>
            <pc:sldMk cId="1546475425" sldId="287"/>
            <ac:picMk id="7" creationId="{BCFE92B6-D928-EFD8-3133-3C65B1EEF12E}"/>
          </ac:picMkLst>
        </pc:picChg>
        <pc:picChg chg="add del mod">
          <ac:chgData name="Roberto Gallardo" userId="49a044883f185952" providerId="LiveId" clId="{7A4C251F-DA1C-4F4A-8C3A-04ADC94E3A2F}" dt="2023-03-05T14:14:03.714" v="210" actId="478"/>
          <ac:picMkLst>
            <pc:docMk/>
            <pc:sldMk cId="1546475425" sldId="287"/>
            <ac:picMk id="8" creationId="{1FD20636-93A6-3CB9-0F6B-6C5DA9AC3A4B}"/>
          </ac:picMkLst>
        </pc:picChg>
      </pc:sldChg>
      <pc:sldChg chg="addSp delSp modSp mod">
        <pc:chgData name="Roberto Gallardo" userId="49a044883f185952" providerId="LiveId" clId="{7A4C251F-DA1C-4F4A-8C3A-04ADC94E3A2F}" dt="2023-03-05T22:47:27.368" v="371" actId="1076"/>
        <pc:sldMkLst>
          <pc:docMk/>
          <pc:sldMk cId="1380517306" sldId="288"/>
        </pc:sldMkLst>
        <pc:picChg chg="add mod">
          <ac:chgData name="Roberto Gallardo" userId="49a044883f185952" providerId="LiveId" clId="{7A4C251F-DA1C-4F4A-8C3A-04ADC94E3A2F}" dt="2023-03-05T22:47:27.368" v="371" actId="1076"/>
          <ac:picMkLst>
            <pc:docMk/>
            <pc:sldMk cId="1380517306" sldId="288"/>
            <ac:picMk id="7" creationId="{4A79C02A-5A7D-7F8F-A5AB-1D6E4BEBDBFA}"/>
          </ac:picMkLst>
        </pc:picChg>
        <pc:picChg chg="add del mod">
          <ac:chgData name="Roberto Gallardo" userId="49a044883f185952" providerId="LiveId" clId="{7A4C251F-DA1C-4F4A-8C3A-04ADC94E3A2F}" dt="2023-03-05T14:14:06.446" v="212" actId="478"/>
          <ac:picMkLst>
            <pc:docMk/>
            <pc:sldMk cId="1380517306" sldId="288"/>
            <ac:picMk id="8" creationId="{3D1CD844-83D7-DEC7-0DD7-5E5048249CB7}"/>
          </ac:picMkLst>
        </pc:picChg>
      </pc:sldChg>
      <pc:sldChg chg="addSp delSp modSp mod">
        <pc:chgData name="Roberto Gallardo" userId="49a044883f185952" providerId="LiveId" clId="{7A4C251F-DA1C-4F4A-8C3A-04ADC94E3A2F}" dt="2023-03-05T22:47:47.933" v="382" actId="1076"/>
        <pc:sldMkLst>
          <pc:docMk/>
          <pc:sldMk cId="1388671151" sldId="289"/>
        </pc:sldMkLst>
        <pc:picChg chg="add mod">
          <ac:chgData name="Roberto Gallardo" userId="49a044883f185952" providerId="LiveId" clId="{7A4C251F-DA1C-4F4A-8C3A-04ADC94E3A2F}" dt="2023-03-05T22:47:47.933" v="382" actId="1076"/>
          <ac:picMkLst>
            <pc:docMk/>
            <pc:sldMk cId="1388671151" sldId="289"/>
            <ac:picMk id="7" creationId="{A1C00797-9150-3961-1062-26D6D408387B}"/>
          </ac:picMkLst>
        </pc:picChg>
        <pc:picChg chg="add del mod">
          <ac:chgData name="Roberto Gallardo" userId="49a044883f185952" providerId="LiveId" clId="{7A4C251F-DA1C-4F4A-8C3A-04ADC94E3A2F}" dt="2023-03-05T14:14:08.812" v="213" actId="478"/>
          <ac:picMkLst>
            <pc:docMk/>
            <pc:sldMk cId="1388671151" sldId="289"/>
            <ac:picMk id="8" creationId="{EC913701-37A2-220F-DA81-5C599172F657}"/>
          </ac:picMkLst>
        </pc:picChg>
      </pc:sldChg>
      <pc:sldChg chg="addSp delSp modSp mod">
        <pc:chgData name="Roberto Gallardo" userId="49a044883f185952" providerId="LiveId" clId="{7A4C251F-DA1C-4F4A-8C3A-04ADC94E3A2F}" dt="2023-03-05T22:48:24.372" v="403" actId="1076"/>
        <pc:sldMkLst>
          <pc:docMk/>
          <pc:sldMk cId="2355376039" sldId="290"/>
        </pc:sldMkLst>
        <pc:picChg chg="add mod">
          <ac:chgData name="Roberto Gallardo" userId="49a044883f185952" providerId="LiveId" clId="{7A4C251F-DA1C-4F4A-8C3A-04ADC94E3A2F}" dt="2023-03-05T22:48:24.372" v="403" actId="1076"/>
          <ac:picMkLst>
            <pc:docMk/>
            <pc:sldMk cId="2355376039" sldId="290"/>
            <ac:picMk id="8" creationId="{73485D86-A842-8C30-AE2C-9879DF1D8A78}"/>
          </ac:picMkLst>
        </pc:picChg>
        <pc:picChg chg="add del mod">
          <ac:chgData name="Roberto Gallardo" userId="49a044883f185952" providerId="LiveId" clId="{7A4C251F-DA1C-4F4A-8C3A-04ADC94E3A2F}" dt="2023-03-05T14:14:12.821" v="215" actId="478"/>
          <ac:picMkLst>
            <pc:docMk/>
            <pc:sldMk cId="2355376039" sldId="290"/>
            <ac:picMk id="9" creationId="{245BE6CA-46B8-E579-A3CE-BF244BD284DD}"/>
          </ac:picMkLst>
        </pc:picChg>
      </pc:sldChg>
      <pc:sldChg chg="addSp delSp modSp mod">
        <pc:chgData name="Roberto Gallardo" userId="49a044883f185952" providerId="LiveId" clId="{7A4C251F-DA1C-4F4A-8C3A-04ADC94E3A2F}" dt="2023-03-05T22:48:41.365" v="414" actId="1076"/>
        <pc:sldMkLst>
          <pc:docMk/>
          <pc:sldMk cId="3757257295" sldId="291"/>
        </pc:sldMkLst>
        <pc:picChg chg="add mod">
          <ac:chgData name="Roberto Gallardo" userId="49a044883f185952" providerId="LiveId" clId="{7A4C251F-DA1C-4F4A-8C3A-04ADC94E3A2F}" dt="2023-03-05T22:48:41.365" v="414" actId="1076"/>
          <ac:picMkLst>
            <pc:docMk/>
            <pc:sldMk cId="3757257295" sldId="291"/>
            <ac:picMk id="8" creationId="{F66A61B7-FCCB-EE50-3BBD-11F7ED8BA587}"/>
          </ac:picMkLst>
        </pc:picChg>
        <pc:picChg chg="add del mod">
          <ac:chgData name="Roberto Gallardo" userId="49a044883f185952" providerId="LiveId" clId="{7A4C251F-DA1C-4F4A-8C3A-04ADC94E3A2F}" dt="2023-03-05T14:14:14.674" v="216" actId="478"/>
          <ac:picMkLst>
            <pc:docMk/>
            <pc:sldMk cId="3757257295" sldId="291"/>
            <ac:picMk id="9" creationId="{06E93B68-6DAE-0689-1646-8BDF29A08786}"/>
          </ac:picMkLst>
        </pc:picChg>
      </pc:sldChg>
      <pc:sldChg chg="addSp delSp modSp mod">
        <pc:chgData name="Roberto Gallardo" userId="49a044883f185952" providerId="LiveId" clId="{7A4C251F-DA1C-4F4A-8C3A-04ADC94E3A2F}" dt="2023-03-05T22:47:11.250" v="361" actId="1076"/>
        <pc:sldMkLst>
          <pc:docMk/>
          <pc:sldMk cId="1259856727" sldId="292"/>
        </pc:sldMkLst>
        <pc:picChg chg="add mod">
          <ac:chgData name="Roberto Gallardo" userId="49a044883f185952" providerId="LiveId" clId="{7A4C251F-DA1C-4F4A-8C3A-04ADC94E3A2F}" dt="2023-03-05T22:47:11.250" v="361" actId="1076"/>
          <ac:picMkLst>
            <pc:docMk/>
            <pc:sldMk cId="1259856727" sldId="292"/>
            <ac:picMk id="7" creationId="{AE1FA462-8D96-EAAC-E81C-A8F9CA24C9CF}"/>
          </ac:picMkLst>
        </pc:picChg>
        <pc:picChg chg="add del mod">
          <ac:chgData name="Roberto Gallardo" userId="49a044883f185952" providerId="LiveId" clId="{7A4C251F-DA1C-4F4A-8C3A-04ADC94E3A2F}" dt="2023-03-05T14:14:05.064" v="211" actId="478"/>
          <ac:picMkLst>
            <pc:docMk/>
            <pc:sldMk cId="1259856727" sldId="292"/>
            <ac:picMk id="8" creationId="{FA7D42F0-DD60-4E17-5349-740D2EBFEC8A}"/>
          </ac:picMkLst>
        </pc:picChg>
      </pc:sldChg>
      <pc:sldChg chg="addSp delSp modSp mod">
        <pc:chgData name="Roberto Gallardo" userId="49a044883f185952" providerId="LiveId" clId="{7A4C251F-DA1C-4F4A-8C3A-04ADC94E3A2F}" dt="2023-03-05T22:44:52.446" v="281" actId="1076"/>
        <pc:sldMkLst>
          <pc:docMk/>
          <pc:sldMk cId="3324519687" sldId="293"/>
        </pc:sldMkLst>
        <pc:picChg chg="add mod">
          <ac:chgData name="Roberto Gallardo" userId="49a044883f185952" providerId="LiveId" clId="{7A4C251F-DA1C-4F4A-8C3A-04ADC94E3A2F}" dt="2023-03-05T22:44:52.446" v="281" actId="1076"/>
          <ac:picMkLst>
            <pc:docMk/>
            <pc:sldMk cId="3324519687" sldId="293"/>
            <ac:picMk id="7" creationId="{8A3B6878-D493-CF21-2C3A-08B831AD10EF}"/>
          </ac:picMkLst>
        </pc:picChg>
        <pc:picChg chg="add del mod">
          <ac:chgData name="Roberto Gallardo" userId="49a044883f185952" providerId="LiveId" clId="{7A4C251F-DA1C-4F4A-8C3A-04ADC94E3A2F}" dt="2023-03-05T14:13:51.079" v="202" actId="478"/>
          <ac:picMkLst>
            <pc:docMk/>
            <pc:sldMk cId="3324519687" sldId="293"/>
            <ac:picMk id="8" creationId="{AEF6C042-F469-FD22-9035-312F4935539F}"/>
          </ac:picMkLst>
        </pc:picChg>
      </pc:sldChg>
      <pc:sldChg chg="addSp delSp modSp mod">
        <pc:chgData name="Roberto Gallardo" userId="49a044883f185952" providerId="LiveId" clId="{7A4C251F-DA1C-4F4A-8C3A-04ADC94E3A2F}" dt="2023-03-05T22:43:54.697" v="257" actId="1076"/>
        <pc:sldMkLst>
          <pc:docMk/>
          <pc:sldMk cId="3256182630" sldId="295"/>
        </pc:sldMkLst>
        <pc:picChg chg="add mod">
          <ac:chgData name="Roberto Gallardo" userId="49a044883f185952" providerId="LiveId" clId="{7A4C251F-DA1C-4F4A-8C3A-04ADC94E3A2F}" dt="2023-03-05T22:43:54.697" v="257" actId="1076"/>
          <ac:picMkLst>
            <pc:docMk/>
            <pc:sldMk cId="3256182630" sldId="295"/>
            <ac:picMk id="7" creationId="{0484482C-64BA-87FF-45DD-94C8EF1EF099}"/>
          </ac:picMkLst>
        </pc:picChg>
        <pc:picChg chg="add del mod">
          <ac:chgData name="Roberto Gallardo" userId="49a044883f185952" providerId="LiveId" clId="{7A4C251F-DA1C-4F4A-8C3A-04ADC94E3A2F}" dt="2023-03-05T14:13:47.370" v="199" actId="478"/>
          <ac:picMkLst>
            <pc:docMk/>
            <pc:sldMk cId="3256182630" sldId="295"/>
            <ac:picMk id="8" creationId="{8073A513-A625-65D8-15F7-CFB2A512B5E3}"/>
          </ac:picMkLst>
        </pc:picChg>
      </pc:sldChg>
      <pc:sldChg chg="addSp delSp modSp mod">
        <pc:chgData name="Roberto Gallardo" userId="49a044883f185952" providerId="LiveId" clId="{7A4C251F-DA1C-4F4A-8C3A-04ADC94E3A2F}" dt="2023-03-05T22:44:27.869" v="269" actId="14100"/>
        <pc:sldMkLst>
          <pc:docMk/>
          <pc:sldMk cId="4057156843" sldId="296"/>
        </pc:sldMkLst>
        <pc:picChg chg="add del mod">
          <ac:chgData name="Roberto Gallardo" userId="49a044883f185952" providerId="LiveId" clId="{7A4C251F-DA1C-4F4A-8C3A-04ADC94E3A2F}" dt="2023-03-05T22:44:13.254" v="261" actId="478"/>
          <ac:picMkLst>
            <pc:docMk/>
            <pc:sldMk cId="4057156843" sldId="296"/>
            <ac:picMk id="7" creationId="{C3B0A5F3-D25D-3B02-96BA-53433D3FD849}"/>
          </ac:picMkLst>
        </pc:picChg>
        <pc:picChg chg="add del mod">
          <ac:chgData name="Roberto Gallardo" userId="49a044883f185952" providerId="LiveId" clId="{7A4C251F-DA1C-4F4A-8C3A-04ADC94E3A2F}" dt="2023-03-05T14:13:49.101" v="201" actId="478"/>
          <ac:picMkLst>
            <pc:docMk/>
            <pc:sldMk cId="4057156843" sldId="296"/>
            <ac:picMk id="8" creationId="{3EC26400-D44F-F2E7-A7CE-BB2AE3B8A8F7}"/>
          </ac:picMkLst>
        </pc:picChg>
        <pc:picChg chg="add mod">
          <ac:chgData name="Roberto Gallardo" userId="49a044883f185952" providerId="LiveId" clId="{7A4C251F-DA1C-4F4A-8C3A-04ADC94E3A2F}" dt="2023-03-05T22:44:27.869" v="269" actId="14100"/>
          <ac:picMkLst>
            <pc:docMk/>
            <pc:sldMk cId="4057156843" sldId="296"/>
            <ac:picMk id="9" creationId="{8F5B2BF9-311D-47C8-BE46-DB7F5F7E8429}"/>
          </ac:picMkLst>
        </pc:picChg>
      </pc:sldChg>
      <pc:sldChg chg="addSp delSp modSp mod">
        <pc:chgData name="Roberto Gallardo" userId="49a044883f185952" providerId="LiveId" clId="{7A4C251F-DA1C-4F4A-8C3A-04ADC94E3A2F}" dt="2023-03-05T22:43:25.017" v="247" actId="1076"/>
        <pc:sldMkLst>
          <pc:docMk/>
          <pc:sldMk cId="2080110827" sldId="297"/>
        </pc:sldMkLst>
        <pc:picChg chg="add del mod">
          <ac:chgData name="Roberto Gallardo" userId="49a044883f185952" providerId="LiveId" clId="{7A4C251F-DA1C-4F4A-8C3A-04ADC94E3A2F}" dt="2023-03-05T14:13:39.361" v="198" actId="478"/>
          <ac:picMkLst>
            <pc:docMk/>
            <pc:sldMk cId="2080110827" sldId="297"/>
            <ac:picMk id="6" creationId="{61680A3E-AE28-7801-7F4E-167350057B32}"/>
          </ac:picMkLst>
        </pc:picChg>
        <pc:picChg chg="add mod">
          <ac:chgData name="Roberto Gallardo" userId="49a044883f185952" providerId="LiveId" clId="{7A4C251F-DA1C-4F4A-8C3A-04ADC94E3A2F}" dt="2023-03-05T22:43:25.017" v="247" actId="1076"/>
          <ac:picMkLst>
            <pc:docMk/>
            <pc:sldMk cId="2080110827" sldId="297"/>
            <ac:picMk id="6" creationId="{B544AD2A-8259-0819-5F1F-A8F3388E67C2}"/>
          </ac:picMkLst>
        </pc:picChg>
      </pc:sldChg>
      <pc:sldChg chg="addSp delSp modSp mod">
        <pc:chgData name="Roberto Gallardo" userId="49a044883f185952" providerId="LiveId" clId="{7A4C251F-DA1C-4F4A-8C3A-04ADC94E3A2F}" dt="2023-03-05T22:43:08.506" v="238" actId="1076"/>
        <pc:sldMkLst>
          <pc:docMk/>
          <pc:sldMk cId="1532666867" sldId="298"/>
        </pc:sldMkLst>
        <pc:picChg chg="add del mod">
          <ac:chgData name="Roberto Gallardo" userId="49a044883f185952" providerId="LiveId" clId="{7A4C251F-DA1C-4F4A-8C3A-04ADC94E3A2F}" dt="2023-03-05T14:13:37.145" v="197" actId="478"/>
          <ac:picMkLst>
            <pc:docMk/>
            <pc:sldMk cId="1532666867" sldId="298"/>
            <ac:picMk id="6" creationId="{1B504679-796B-2009-1531-6D7E81470900}"/>
          </ac:picMkLst>
        </pc:picChg>
        <pc:picChg chg="add mod">
          <ac:chgData name="Roberto Gallardo" userId="49a044883f185952" providerId="LiveId" clId="{7A4C251F-DA1C-4F4A-8C3A-04ADC94E3A2F}" dt="2023-03-05T22:43:08.506" v="238" actId="1076"/>
          <ac:picMkLst>
            <pc:docMk/>
            <pc:sldMk cId="1532666867" sldId="298"/>
            <ac:picMk id="6" creationId="{C41629D7-4A30-ED9A-BE82-9814B15E0640}"/>
          </ac:picMkLst>
        </pc:picChg>
      </pc:sldChg>
      <pc:sldChg chg="addSp delSp modSp mod">
        <pc:chgData name="Roberto Gallardo" userId="49a044883f185952" providerId="LiveId" clId="{7A4C251F-DA1C-4F4A-8C3A-04ADC94E3A2F}" dt="2023-03-05T22:48:04.812" v="391" actId="1076"/>
        <pc:sldMkLst>
          <pc:docMk/>
          <pc:sldMk cId="1951376777" sldId="299"/>
        </pc:sldMkLst>
        <pc:picChg chg="add mod">
          <ac:chgData name="Roberto Gallardo" userId="49a044883f185952" providerId="LiveId" clId="{7A4C251F-DA1C-4F4A-8C3A-04ADC94E3A2F}" dt="2023-03-05T22:48:04.812" v="391" actId="1076"/>
          <ac:picMkLst>
            <pc:docMk/>
            <pc:sldMk cId="1951376777" sldId="299"/>
            <ac:picMk id="7" creationId="{FB609ADE-64CC-B509-AAF5-179FE83529BB}"/>
          </ac:picMkLst>
        </pc:picChg>
        <pc:picChg chg="add del mod">
          <ac:chgData name="Roberto Gallardo" userId="49a044883f185952" providerId="LiveId" clId="{7A4C251F-DA1C-4F4A-8C3A-04ADC94E3A2F}" dt="2023-03-05T14:14:10.309" v="214" actId="478"/>
          <ac:picMkLst>
            <pc:docMk/>
            <pc:sldMk cId="1951376777" sldId="299"/>
            <ac:picMk id="8" creationId="{5488E98E-86CB-B7DC-D730-525339F5F2F6}"/>
          </ac:picMkLst>
        </pc:picChg>
      </pc:sldChg>
      <pc:sldChg chg="modSp mod">
        <pc:chgData name="Roberto Gallardo" userId="49a044883f185952" providerId="LiveId" clId="{7A4C251F-DA1C-4F4A-8C3A-04ADC94E3A2F}" dt="2023-02-25T13:23:24.704" v="193" actId="20577"/>
        <pc:sldMkLst>
          <pc:docMk/>
          <pc:sldMk cId="1515423683" sldId="302"/>
        </pc:sldMkLst>
        <pc:spChg chg="mod">
          <ac:chgData name="Roberto Gallardo" userId="49a044883f185952" providerId="LiveId" clId="{7A4C251F-DA1C-4F4A-8C3A-04ADC94E3A2F}" dt="2023-02-25T13:23:24.704" v="193" actId="20577"/>
          <ac:spMkLst>
            <pc:docMk/>
            <pc:sldMk cId="1515423683" sldId="302"/>
            <ac:spMk id="5" creationId="{6AE302AC-8931-4144-BE52-DD1A8BA82462}"/>
          </ac:spMkLst>
        </pc:spChg>
        <pc:spChg chg="mod">
          <ac:chgData name="Roberto Gallardo" userId="49a044883f185952" providerId="LiveId" clId="{7A4C251F-DA1C-4F4A-8C3A-04ADC94E3A2F}" dt="2023-02-25T13:23:21.918" v="192" actId="20577"/>
          <ac:spMkLst>
            <pc:docMk/>
            <pc:sldMk cId="1515423683" sldId="302"/>
            <ac:spMk id="9" creationId="{E362A98F-7DCD-C67C-23CE-1BE182A133B4}"/>
          </ac:spMkLst>
        </pc:spChg>
      </pc:sldChg>
      <pc:sldChg chg="del">
        <pc:chgData name="Roberto Gallardo" userId="49a044883f185952" providerId="LiveId" clId="{7A4C251F-DA1C-4F4A-8C3A-04ADC94E3A2F}" dt="2023-02-25T14:53:20.932" v="195" actId="47"/>
        <pc:sldMkLst>
          <pc:docMk/>
          <pc:sldMk cId="2841628872" sldId="303"/>
        </pc:sldMkLst>
      </pc:sldChg>
      <pc:sldChg chg="del">
        <pc:chgData name="Roberto Gallardo" userId="49a044883f185952" providerId="LiveId" clId="{7A4C251F-DA1C-4F4A-8C3A-04ADC94E3A2F}" dt="2023-02-25T14:53:20.932" v="195" actId="47"/>
        <pc:sldMkLst>
          <pc:docMk/>
          <pc:sldMk cId="3084076302" sldId="304"/>
        </pc:sldMkLst>
      </pc:sldChg>
      <pc:sldChg chg="del">
        <pc:chgData name="Roberto Gallardo" userId="49a044883f185952" providerId="LiveId" clId="{7A4C251F-DA1C-4F4A-8C3A-04ADC94E3A2F}" dt="2023-02-25T14:53:20.932" v="195" actId="47"/>
        <pc:sldMkLst>
          <pc:docMk/>
          <pc:sldMk cId="473712435" sldId="305"/>
        </pc:sldMkLst>
      </pc:sldChg>
      <pc:sldChg chg="add">
        <pc:chgData name="Roberto Gallardo" userId="49a044883f185952" providerId="LiveId" clId="{7A4C251F-DA1C-4F4A-8C3A-04ADC94E3A2F}" dt="2023-02-25T14:53:17.918" v="194"/>
        <pc:sldMkLst>
          <pc:docMk/>
          <pc:sldMk cId="2498392759" sldId="307"/>
        </pc:sldMkLst>
      </pc:sldChg>
      <pc:sldChg chg="add">
        <pc:chgData name="Roberto Gallardo" userId="49a044883f185952" providerId="LiveId" clId="{7A4C251F-DA1C-4F4A-8C3A-04ADC94E3A2F}" dt="2023-02-25T14:53:17.918" v="194"/>
        <pc:sldMkLst>
          <pc:docMk/>
          <pc:sldMk cId="1355763848" sldId="308"/>
        </pc:sldMkLst>
      </pc:sldChg>
      <pc:sldChg chg="add">
        <pc:chgData name="Roberto Gallardo" userId="49a044883f185952" providerId="LiveId" clId="{7A4C251F-DA1C-4F4A-8C3A-04ADC94E3A2F}" dt="2023-02-25T14:53:17.918" v="194"/>
        <pc:sldMkLst>
          <pc:docMk/>
          <pc:sldMk cId="2647731807" sldId="309"/>
        </pc:sldMkLst>
      </pc:sldChg>
      <pc:sldChg chg="add">
        <pc:chgData name="Roberto Gallardo" userId="49a044883f185952" providerId="LiveId" clId="{7A4C251F-DA1C-4F4A-8C3A-04ADC94E3A2F}" dt="2023-02-25T14:53:17.918" v="194"/>
        <pc:sldMkLst>
          <pc:docMk/>
          <pc:sldMk cId="2249043067"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31763"/>
          </a:xfrm>
          <a:prstGeom prst="rect">
            <a:avLst/>
          </a:prstGeom>
          <a:noFill/>
        </p:spPr>
        <p:txBody>
          <a:bodyPr wrap="square" rtlCol="0">
            <a:spAutoFit/>
          </a:bodyPr>
          <a:lstStyle/>
          <a:p>
            <a:r>
              <a:rPr lang="en-US" sz="4000" dirty="0">
                <a:solidFill>
                  <a:schemeClr val="bg1"/>
                </a:solidFill>
              </a:rPr>
              <a:t>Stanly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1B750CE-6514-2DBE-1124-79DF0FFFEDDE}"/>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26477318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344CA7BA-2E98-6FD5-F33D-9C5F2A469F80}"/>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22490430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65DAA762-3E1D-E9DA-F558-B604D56D9D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5"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C41629D7-4A30-ED9A-BE82-9814B15E06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2326" y="1028700"/>
            <a:ext cx="7611148" cy="5382278"/>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B544AD2A-8259-0819-5F1F-A8F3388E67C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1" y="1028700"/>
            <a:ext cx="7602618"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A89F6250-4EF1-4990-8757-CC80C3DD0BA3}"/>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0484482C-64BA-87FF-45DD-94C8EF1EF0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52"/>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8714619-2C9A-F79C-1ADC-142866501709}"/>
              </a:ext>
            </a:extLst>
          </p:cNvPr>
          <p:cNvPicPr preferRelativeResize="0"/>
          <p:nvPr/>
        </p:nvPicPr>
        <p:blipFill>
          <a:blip r:embed="rId2"/>
          <a:stretch>
            <a:fillRect/>
          </a:stretch>
        </p:blipFill>
        <p:spPr>
          <a:xfrm>
            <a:off x="149225" y="1754188"/>
            <a:ext cx="5372100" cy="3844925"/>
          </a:xfrm>
          <a:prstGeom prst="rect">
            <a:avLst/>
          </a:prstGeom>
        </p:spPr>
      </p:pic>
      <p:pic>
        <p:nvPicPr>
          <p:cNvPr id="9" name="Picture 8" descr="Map&#10;&#10;Description automatically generated">
            <a:extLst>
              <a:ext uri="{FF2B5EF4-FFF2-40B4-BE49-F238E27FC236}">
                <a16:creationId xmlns:a16="http://schemas.microsoft.com/office/drawing/2014/main" id="{8F5B2BF9-311D-47C8-BE46-DB7F5F7E84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49436"/>
            <a:ext cx="6400800" cy="452637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0C89118D-C18E-BF38-56E5-01C9D2790EA5}"/>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8A3B6878-D493-CF21-2C3A-08B831AD10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D071A5F5-900C-1C02-21E9-56F2ED85DDF4}"/>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D7A7B661-F773-58DF-8307-3E7E0EA069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547"/>
            <a:ext cx="6403975" cy="4528617"/>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DE84E2F9-9668-C705-9D58-29D1F38289B6}"/>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B047ECB-B710-6F61-4687-D76E5894DD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780"/>
            <a:ext cx="6405562" cy="4529739"/>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92A2D23B-C013-7E00-B4CD-038045CE015E}"/>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B6AD8A26-B2E2-4098-4B1C-F313D090EF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7660" y="1403340"/>
            <a:ext cx="6395966" cy="4522953"/>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F59120F6-9875-C717-ED0C-C2F0AD053841}"/>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0FFBB3CE-CF54-EE79-392E-05D79235CC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449"/>
            <a:ext cx="6400801"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181435EC-221F-D312-F8BC-A3285858FAD8}"/>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12A8BB8A-284F-4241-29DB-37D6E3845A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881" y="1408701"/>
            <a:ext cx="6400800" cy="4526372"/>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69FFCB33-C9F8-B312-7E99-5571280569C9}"/>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95947E38-5DDD-59EF-0714-FE294AC3FC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8325" y="1422122"/>
            <a:ext cx="6400800" cy="4526372"/>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036CD2F4-8C82-78EE-8A45-1FF97FD25E75}"/>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BCFE92B6-D928-EFD8-3133-3C65B1EEF1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3634" y="1419096"/>
            <a:ext cx="6395966" cy="4522953"/>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59476E7A-4AC4-09FE-0D91-3271269C85B7}"/>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E1FA462-8D96-EAAC-E81C-A8F9CA24C9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7481" y="1406772"/>
            <a:ext cx="6400800" cy="452637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C2B6EA28-31FB-D500-D89F-1DAB053673CF}"/>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4A79C02A-5A7D-7F8F-A5AB-1D6E4BEBDB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402"/>
            <a:ext cx="6400800"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CDE98AE0-1466-45F6-2EE9-127E5B2D0536}"/>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1C00797-9150-3961-1062-26D6D40838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407"/>
            <a:ext cx="6400800"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D98B0447-C09E-D0C1-23A0-6088AEFE7669}"/>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FB609ADE-64CC-B509-AAF5-179FE83529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067AF9F4-2BB3-7E6B-0AB7-6AF352406177}"/>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73485D86-A842-8C30-AE2C-9879DF1D8A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147"/>
            <a:ext cx="6400800" cy="452637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AB8BD162-8802-11C9-F7FC-A97973B38673}"/>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9EB293C7-8025-6BB9-A7D5-1C8BF935506D}"/>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Chart, map&#10;&#10;Description automatically generated">
            <a:extLst>
              <a:ext uri="{FF2B5EF4-FFF2-40B4-BE49-F238E27FC236}">
                <a16:creationId xmlns:a16="http://schemas.microsoft.com/office/drawing/2014/main" id="{F66A61B7-FCCB-EE50-3BBD-11F7ED8BA5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762"/>
            <a:ext cx="6400800" cy="452637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06BC6951-EA60-AD33-5A18-8440C8D8965E}"/>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B9DE7F6-DB77-B029-8E1E-713A85FF9E08}"/>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366F977-CB14-0258-5096-79FBB4F6D006}"/>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08861" y="1812324"/>
            <a:ext cx="1198148" cy="2091613"/>
            <a:chOff x="8040444" y="2992125"/>
            <a:chExt cx="1198148" cy="2091613"/>
          </a:xfrm>
        </p:grpSpPr>
        <p:sp>
          <p:nvSpPr>
            <p:cNvPr id="21" name="TextBox 20">
              <a:extLst>
                <a:ext uri="{FF2B5EF4-FFF2-40B4-BE49-F238E27FC236}">
                  <a16:creationId xmlns:a16="http://schemas.microsoft.com/office/drawing/2014/main" id="{9A68ADBE-AECC-EE60-7E94-3675B33E08AE}"/>
                </a:ext>
              </a:extLst>
            </p:cNvPr>
            <p:cNvSpPr txBox="1"/>
            <p:nvPr/>
          </p:nvSpPr>
          <p:spPr>
            <a:xfrm>
              <a:off x="8040444" y="365586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1</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50837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29921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a:endCxn id="21" idx="0"/>
            </p:cNvCxnSpPr>
            <p:nvPr/>
          </p:nvCxnSpPr>
          <p:spPr>
            <a:xfrm>
              <a:off x="8639518" y="2992125"/>
              <a:ext cx="0" cy="66373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39518" y="4548415"/>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898462" y="2612916"/>
            <a:ext cx="1198148" cy="2147838"/>
            <a:chOff x="10466695" y="2705187"/>
            <a:chExt cx="1198148" cy="2147838"/>
          </a:xfrm>
        </p:grpSpPr>
        <p:sp>
          <p:nvSpPr>
            <p:cNvPr id="11" name="TextBox 10">
              <a:extLst>
                <a:ext uri="{FF2B5EF4-FFF2-40B4-BE49-F238E27FC236}">
                  <a16:creationId xmlns:a16="http://schemas.microsoft.com/office/drawing/2014/main" id="{09F5AE19-B4E3-7788-F25F-CDA80D596DAF}"/>
                </a:ext>
              </a:extLst>
            </p:cNvPr>
            <p:cNvSpPr txBox="1"/>
            <p:nvPr/>
          </p:nvSpPr>
          <p:spPr>
            <a:xfrm>
              <a:off x="10466695" y="338890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4</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11087" y="48530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14125" y="270518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65769" y="2705187"/>
              <a:ext cx="0" cy="68372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p:cNvCxnSpPr>
            <p:nvPr/>
          </p:nvCxnSpPr>
          <p:spPr>
            <a:xfrm>
              <a:off x="11065769" y="4309086"/>
              <a:ext cx="0" cy="5344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236F1382-059A-A839-2A6E-D6B9E70FCC1B}"/>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016D7E35-E95E-DA78-6385-15405B6F2E0C}"/>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0AC1067E-9A09-D831-2D07-8BA10ECDC2EB}"/>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F87607E1-432D-3414-3192-4ABED4934442}"/>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EE5DB77B-E4AD-4612-CA89-0837DF32CD20}"/>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C4129AF8-D57D-2EA8-FFE2-DFEE49BADA9A}"/>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B6C1AE9E-18ED-8740-6835-AFD288657A6F}"/>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4983927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E7F322BC-A01C-F05A-8EE9-EE3A619D4CA2}"/>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13557638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88</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62</cp:revision>
  <dcterms:created xsi:type="dcterms:W3CDTF">2022-07-04T13:32:28Z</dcterms:created>
  <dcterms:modified xsi:type="dcterms:W3CDTF">2023-03-05T22:48:42Z</dcterms:modified>
</cp:coreProperties>
</file>